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4" r:id="rId12"/>
    <p:sldId id="2147375603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adrin.info/gitgithub-how-to-contribute-to-an-open-source-project-on-github.html" TargetMode="External"/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bluediamondgallery.com/wooden-tile/t/theory.html" TargetMode="External"/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rockarch.org/project-electron-august-update" TargetMode="External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opensourcenetworksimulator.com/" TargetMode="External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dfreephotos.com/business-and-technology/people-collaborating-on-a-project.jpg.php" TargetMode="External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s://pixabay.com/en/smiley-yellow-happy-smile-emoticon-163510/" TargetMode="Externa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technofaq.org/posts/2017/04/5-tips-for-developing-an-effective-software-quality-testing-and-assurance-culture/" TargetMode="External"/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ugobarona.com/a-success-story-of-improved-productivity-and-quality-of-work-processes-using-azure-devops/" TargetMode="External"/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ocw.cs.pub.ro/courses/se/labs/07" TargetMode="External"/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nofaq.org/posts/2019/12/4-levels-of-software-testing-advantages/" TargetMode="External"/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roaringelephant.org/2019/01/01/episode-121-infrastructure-and-data-lifecycle-part-1/" TargetMode="External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ARSHIKA SOFA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DBMS – </a:t>
            </a:r>
            <a:r>
              <a:rPr lang="en-US" sz="2000" dirty="0" err="1"/>
              <a:t>Postgresql</a:t>
            </a:r>
            <a:r>
              <a:rPr lang="en-US" sz="2000" dirty="0"/>
              <a:t> will help me handle data available in the backend. I learnt various </a:t>
            </a:r>
            <a:r>
              <a:rPr lang="en-US" sz="2000" dirty="0" err="1"/>
              <a:t>sql</a:t>
            </a:r>
            <a:r>
              <a:rPr lang="en-US" sz="2000" dirty="0"/>
              <a:t> commands that will help me with various operations required for data handling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CI/CD pipeline and </a:t>
            </a:r>
            <a:r>
              <a:rPr lang="en-US" sz="2000" dirty="0" err="1"/>
              <a:t>Github</a:t>
            </a:r>
            <a:r>
              <a:rPr lang="en-US" sz="2000" dirty="0"/>
              <a:t> Actions tools are very important for collaborative development of projects in an organization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3" name="Picture 12" descr="A couple of logos with text&#10;&#10;Description automatically generated with medium confidence">
            <a:extLst>
              <a:ext uri="{FF2B5EF4-FFF2-40B4-BE49-F238E27FC236}">
                <a16:creationId xmlns:a16="http://schemas.microsoft.com/office/drawing/2014/main" id="{468EA8EE-483B-3CDD-BC56-599E66C7732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49886" y="2379300"/>
            <a:ext cx="4784928" cy="269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re was a lot of theory but once I understood the concepts thoroughly I was able to remember everything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wooden letter tiles spelling the word theory&#10;&#10;Description automatically generated">
            <a:extLst>
              <a:ext uri="{FF2B5EF4-FFF2-40B4-BE49-F238E27FC236}">
                <a16:creationId xmlns:a16="http://schemas.microsoft.com/office/drawing/2014/main" id="{FE708FC8-98CE-6EB6-9D32-77AE769C07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833536" y="2271562"/>
            <a:ext cx="4410777" cy="2940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itially I faced a little difficulty in writing the codes in gherkin but slowly understood it and wrote multiple testcases during the group activit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white screen with black text&#10;&#10;Description automatically generated">
            <a:extLst>
              <a:ext uri="{FF2B5EF4-FFF2-40B4-BE49-F238E27FC236}">
                <a16:creationId xmlns:a16="http://schemas.microsoft.com/office/drawing/2014/main" id="{B5009260-5607-0521-D847-A4890CB078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78550" y="2913574"/>
            <a:ext cx="5168018" cy="176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reating the VM and using </a:t>
            </a:r>
            <a:r>
              <a:rPr lang="en-US" sz="2000" dirty="0" err="1"/>
              <a:t>Github</a:t>
            </a:r>
            <a:r>
              <a:rPr lang="en-US" sz="2000" dirty="0"/>
              <a:t> was a little confusing at first but the hands on exercises made it easier to understand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13F45918-2904-2916-3E79-8AC90CAC102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511302" y="2446366"/>
            <a:ext cx="5129699" cy="290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e technical custom bootcamps are planned for the future days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will try to revise all my concepts before the new week starts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weekends revise the topic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had multiple group activities were we were divided into groups of 6 people and we had to do tasks like making testcases, bug report and user stories on azure </a:t>
            </a:r>
            <a:r>
              <a:rPr lang="en-US" sz="2000" dirty="0" err="1"/>
              <a:t>devops</a:t>
            </a:r>
            <a:r>
              <a:rPr lang="en-US" sz="2000" dirty="0"/>
              <a:t>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group of people looking at a computer&#10;&#10;Description automatically generated">
            <a:extLst>
              <a:ext uri="{FF2B5EF4-FFF2-40B4-BE49-F238E27FC236}">
                <a16:creationId xmlns:a16="http://schemas.microsoft.com/office/drawing/2014/main" id="{9D2C46B7-B2C3-E11F-CC26-EE675A454DE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756815" y="2596414"/>
            <a:ext cx="4638675" cy="24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SOFTWARE TESTING LIFE CYCLE MODEL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BUG LIFE CYCLE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DEVOPS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CI/CD PIPELINE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DBMS – POSTGRESQL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mile throughout the journey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  <p:pic>
        <p:nvPicPr>
          <p:cNvPr id="6" name="Picture 5" descr="A yellow smiley face with black eyes">
            <a:extLst>
              <a:ext uri="{FF2B5EF4-FFF2-40B4-BE49-F238E27FC236}">
                <a16:creationId xmlns:a16="http://schemas.microsoft.com/office/drawing/2014/main" id="{673B8E4E-2CC4-3465-D8EB-F9670FC619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6760142" y="2117558"/>
            <a:ext cx="4671453" cy="331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learnt about the various software testing types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Like functional and non-functional testing, white black grey and green box testing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ther types of testing included smoke, regression, performance and Ad-hoc testing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about the software testing hierarchy- acceptance, system, integration and unit testing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about STLC(System testing life cycle )model and bug life cycle model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close-up of words">
            <a:extLst>
              <a:ext uri="{FF2B5EF4-FFF2-40B4-BE49-F238E27FC236}">
                <a16:creationId xmlns:a16="http://schemas.microsoft.com/office/drawing/2014/main" id="{2A155D42-3DF2-AD84-9CA6-7067D995C5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88631" y="2515847"/>
            <a:ext cx="5032809" cy="2746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learnt how to write testcases. We also wrote user stories and acceptance </a:t>
            </a:r>
            <a:r>
              <a:rPr lang="en-US" sz="2000" dirty="0" err="1"/>
              <a:t>criterias</a:t>
            </a:r>
            <a:r>
              <a:rPr lang="en-US" sz="2000" dirty="0"/>
              <a:t> which can be used by testers to validate the working of the system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how to make bug reports. We also wrote test cases in gherkin language using the given when then and commands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learnt how to create </a:t>
            </a:r>
            <a:r>
              <a:rPr lang="en-US" sz="2000" dirty="0" err="1"/>
              <a:t>vms</a:t>
            </a:r>
            <a:r>
              <a:rPr lang="en-US" sz="2000" dirty="0"/>
              <a:t> using azure </a:t>
            </a:r>
            <a:r>
              <a:rPr lang="en-US" sz="2000" dirty="0" err="1"/>
              <a:t>devops</a:t>
            </a:r>
            <a:r>
              <a:rPr lang="en-US" sz="20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about BDD (</a:t>
            </a:r>
            <a:r>
              <a:rPr lang="en-US" sz="2000" dirty="0" err="1"/>
              <a:t>behaviour</a:t>
            </a:r>
            <a:r>
              <a:rPr lang="en-US" sz="2000" dirty="0"/>
              <a:t> driven development ) and TDD (test driven development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screenshot of a computer">
            <a:extLst>
              <a:ext uri="{FF2B5EF4-FFF2-40B4-BE49-F238E27FC236}">
                <a16:creationId xmlns:a16="http://schemas.microsoft.com/office/drawing/2014/main" id="{A0A85E03-95EF-791F-0CAF-35EC1C3B05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208294" y="1970061"/>
            <a:ext cx="5767042" cy="367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learnt the difference between severity and priority and how it is used to prioritize bug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about the </a:t>
            </a:r>
            <a:r>
              <a:rPr lang="en-US" sz="2000" dirty="0" err="1"/>
              <a:t>Devops</a:t>
            </a:r>
            <a:r>
              <a:rPr lang="en-US" sz="2000" dirty="0"/>
              <a:t> tools, CI/CD pipeline and how to use </a:t>
            </a:r>
            <a:r>
              <a:rPr lang="en-US" sz="2000" dirty="0" err="1"/>
              <a:t>Github</a:t>
            </a:r>
            <a:r>
              <a:rPr lang="en-US" sz="2000" dirty="0"/>
              <a:t> actions to create a workflow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how to use the </a:t>
            </a:r>
            <a:r>
              <a:rPr lang="en-US" sz="2000" dirty="0" err="1"/>
              <a:t>Fitnesse</a:t>
            </a:r>
            <a:r>
              <a:rPr lang="en-US" sz="2000" dirty="0"/>
              <a:t> tool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also learnt DBMS – </a:t>
            </a:r>
            <a:r>
              <a:rPr lang="en-US" sz="2000" dirty="0" err="1"/>
              <a:t>PostGreSQL</a:t>
            </a:r>
            <a:r>
              <a:rPr lang="en-US" sz="2000" dirty="0"/>
              <a:t> commands and did hands on exercise on each of them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9299EF-D7A9-2CEC-5C90-F1ABE99FD1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5757307" y="1392821"/>
            <a:ext cx="6637689" cy="4653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knowledge about the various types of software testing models gives me more quality on how a software is tested and what are the criteria to keep in mind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97D514D8-6E95-A63C-9989-17B22BBF0D2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00799" y="2144572"/>
            <a:ext cx="5177928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re are multiple development projects that keep going on in Shell. I think I can use these skills in the testing process for those to make sure no bug is there. </a:t>
            </a:r>
          </a:p>
          <a:p>
            <a:pPr marL="0" indent="0">
              <a:buNone/>
            </a:pPr>
            <a:r>
              <a:rPr lang="en-US" sz="2000" dirty="0"/>
              <a:t>I can also write test cases, bug reports and user stories as required for the projects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blue circle with white and pink circles and white text">
            <a:extLst>
              <a:ext uri="{FF2B5EF4-FFF2-40B4-BE49-F238E27FC236}">
                <a16:creationId xmlns:a16="http://schemas.microsoft.com/office/drawing/2014/main" id="{2C126606-4A47-5106-64F1-43183F74392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3689" y="2616890"/>
            <a:ext cx="5983705" cy="256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e49536e-9021-4e8b-a813-eda5cb0caf1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35</TotalTime>
  <Words>718</Words>
  <Application>Microsoft Office PowerPoint</Application>
  <PresentationFormat>Widescreen</PresentationFormat>
  <Paragraphs>8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ofat, Harshika SBOBNG-PTIY/BEM</cp:lastModifiedBy>
  <cp:revision>500</cp:revision>
  <dcterms:created xsi:type="dcterms:W3CDTF">2022-01-18T12:35:56Z</dcterms:created>
  <dcterms:modified xsi:type="dcterms:W3CDTF">2024-09-06T10:3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